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3" r:id="rId3"/>
    <p:sldId id="262" r:id="rId4"/>
    <p:sldId id="258" r:id="rId5"/>
    <p:sldId id="261" r:id="rId6"/>
    <p:sldId id="264" r:id="rId7"/>
    <p:sldId id="265" r:id="rId8"/>
    <p:sldId id="266" r:id="rId9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275D8"/>
    <a:srgbClr val="D4EDDA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8147A9-8A5E-4A63-A0E9-A539C96052F5}" v="339" dt="2023-03-11T07:32:03.6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Objects="1" showGuides="1">
      <p:cViewPr varScale="1">
        <p:scale>
          <a:sx n="58" d="100"/>
          <a:sy n="58" d="100"/>
        </p:scale>
        <p:origin x="521" y="5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DCB4ED-F678-4F6A-8743-FC8428B86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8018A7D-8861-4EB3-B0F5-F46C025C1C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CA1F1BA-ADE9-41C3-8FB1-2280A735F6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FB40BDF-F2F0-4999-9AB4-6A4AEBC16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E2E5C93-149E-4E33-AB76-EE5E6E1E7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985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E7E33D-8FFA-4F72-A82C-A4467C4FC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90FF963-B09E-4BC1-B11F-2EBC2F99D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7C2A089-9F05-4A32-8BD6-794386C69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1940FF7-B5EE-4B81-971F-0E44CC7DC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7F7768-9262-4130-8728-DD3203E13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5140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C5C35C0-8183-45FC-86CA-49C456095A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ABE92B6-890F-4E47-9B93-33B55C69E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2AF75E1-42B5-4A03-83B5-EDACF65EB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7802397-D45C-4D5F-A204-F6914D912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FF3A998-8A68-4146-A793-983EFE8EF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2190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753B99-FE82-43BB-8184-1905FF92E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CF43858-DD8D-4B1A-B638-99153FD1C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A493B1-49DB-4690-9D31-0BEB44828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D14018-035D-4306-B670-61BADED4D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347BDC-8920-4317-B3D4-D2C554F6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1324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754EDD-3DC0-4E65-A89A-62F822B1F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653A85B-361E-4DAE-9A4D-2665896C1F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97F3B97-4B7E-49CE-91AA-8F20B744F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7D978F-8DBB-4770-957C-2348E75AF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0A5584-5A6A-41D1-AAC0-9705D5AC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1556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3BD490-E1AB-445C-A30E-603BED372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2642BD8-30A3-47BE-831B-55CA077FA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22785E3-1BDF-48C8-A3D3-3DF94BAA2B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70635C3-8016-4E3F-BDDF-7E0D50413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C435FB7-6FA9-43F9-B5DD-10EBB8127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3639402-8589-4007-A232-662E4277D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8901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7D2FE6-F106-4F0F-816F-AF246353B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E707210-4769-4F71-8E04-C6D84A1C9B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92284B7-2DA5-4F20-9A69-B3F947B58F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8C29F6A-3D82-463B-867E-9A5AD8FA9C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882A49E-0C35-44E9-B42A-1CB180B0E0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204AE58-BFB7-457F-8406-CDEE3C3F2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42B386B-6BA0-427D-BBD8-5B46D52A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DBBB30F-1E3E-4616-9AA0-91FA636E8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893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104356-D054-4588-B40B-4E08D1479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D3B943-0191-48A8-8227-F1F8F803E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661EE60-2038-4629-AE69-0992FF2C2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5E45D3B-C79C-4EE2-81B2-A6B50EDC6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370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45942CC-5A1E-4981-8AA8-85715208F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0CA9C7-BD95-4A67-995B-B3F402057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7869390-3047-4850-9532-DB08DAA1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1957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52499E-B8FD-465A-B880-1FB44D7B1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D80FC7F-4E65-4511-A2C6-82271F8E82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DDF0F2D-D0B3-4F10-A5A7-015B28EF1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D84DB23-F788-40BF-A7A4-B7948FABD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F848617-7292-4830-A22C-7630A5484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D762DAD-5B8E-4702-806F-76996C6F4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8536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3792AEA-9D2F-47C6-9433-A345FB7B4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2BF9E38A-983F-4DDA-93CC-22FA78D500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DFF7FAC-32C4-4322-BFB5-13085EABDC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52DFB66-F856-4BAD-8DE6-CCE08F6E9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861BCE0-F9CD-40D9-8EA3-787D1E318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FE3463-ECDD-45CB-B036-E129D411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770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DACE6B0D-081C-4946-806B-CB571E7C0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9795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5" imgW="357" imgH="356" progId="TCLayout.ActiveDocument.1">
                  <p:embed/>
                </p:oleObj>
              </mc:Choice>
              <mc:Fallback>
                <p:oleObj name="think-cell 幻灯片" r:id="rId15" imgW="357" imgH="356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DACE6B0D-081C-4946-806B-CB571E7C0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74DC684-F7E9-4EF8-8C9D-818B0E894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CC4277F-B2A2-4D2E-8CF1-08D6AFB0DF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C48075D-B944-48FF-8845-EE0C8877CC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7D5C62-F73D-49CC-86F2-4D5D44D5BEA9}" type="datetimeFigureOut">
              <a:rPr lang="zh-CN" altLang="en-US" smtClean="0"/>
              <a:t>2023/3/1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A341DB1-14F9-4B23-BFAE-82651E2DD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82D1597-1DEB-4B6F-BEB3-0C348E2BB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449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33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椭圆 4">
            <a:extLst>
              <a:ext uri="{FF2B5EF4-FFF2-40B4-BE49-F238E27FC236}">
                <a16:creationId xmlns:a16="http://schemas.microsoft.com/office/drawing/2014/main" id="{7324BB57-2D99-4824-9FC8-7DC5BE0A282B}"/>
              </a:ext>
            </a:extLst>
          </p:cNvPr>
          <p:cNvSpPr/>
          <p:nvPr/>
        </p:nvSpPr>
        <p:spPr>
          <a:xfrm>
            <a:off x="2837636" y="1502786"/>
            <a:ext cx="3852428" cy="3852428"/>
          </a:xfrm>
          <a:prstGeom prst="ellipse">
            <a:avLst/>
          </a:pr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dirty="0"/>
              <a:t>Lef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38F628C5-96C0-4377-951B-378A860245C6}"/>
              </a:ext>
            </a:extLst>
          </p:cNvPr>
          <p:cNvSpPr/>
          <p:nvPr/>
        </p:nvSpPr>
        <p:spPr>
          <a:xfrm>
            <a:off x="5483932" y="1502786"/>
            <a:ext cx="3852428" cy="3852428"/>
          </a:xfrm>
          <a:prstGeom prst="ellipse">
            <a:avLst/>
          </a:pr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1598606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D8AFE59-0661-4155-A920-9A0103462CA7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2807707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37636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90794548-136F-44AB-ABCC-B2FF15018A60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FFB5994-DF5C-4B34-B04B-F4C00E54972B}"/>
              </a:ext>
            </a:extLst>
          </p:cNvPr>
          <p:cNvSpPr txBox="1"/>
          <p:nvPr/>
        </p:nvSpPr>
        <p:spPr>
          <a:xfrm>
            <a:off x="5572841" y="445314"/>
            <a:ext cx="111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n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3325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B18BBAFA-5112-4C5C-828D-CB3847D738D9}"/>
              </a:ext>
            </a:extLst>
          </p:cNvPr>
          <p:cNvSpPr/>
          <p:nvPr/>
        </p:nvSpPr>
        <p:spPr>
          <a:xfrm>
            <a:off x="2837636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0B0F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Lef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40865682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37636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275D8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B0D134E5-BB22-49D7-868A-051521A05E73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275D8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2E570D-2F77-48A1-BA65-6839432546A3}"/>
              </a:ext>
            </a:extLst>
          </p:cNvPr>
          <p:cNvSpPr txBox="1"/>
          <p:nvPr/>
        </p:nvSpPr>
        <p:spPr>
          <a:xfrm>
            <a:off x="5572841" y="-531440"/>
            <a:ext cx="12089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4702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55640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/>
              <a:t>Right</a:t>
            </a:r>
          </a:p>
          <a:p>
            <a:pPr algn="ctr"/>
            <a:r>
              <a:rPr lang="en-US" altLang="zh-CN" sz="360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90794548-136F-44AB-ABCC-B2FF15018A60}"/>
              </a:ext>
            </a:extLst>
          </p:cNvPr>
          <p:cNvSpPr/>
          <p:nvPr/>
        </p:nvSpPr>
        <p:spPr>
          <a:xfrm>
            <a:off x="5501936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275D8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FFB5994-DF5C-4B34-B04B-F4C00E54972B}"/>
              </a:ext>
            </a:extLst>
          </p:cNvPr>
          <p:cNvSpPr txBox="1"/>
          <p:nvPr/>
        </p:nvSpPr>
        <p:spPr>
          <a:xfrm>
            <a:off x="5375920" y="-567444"/>
            <a:ext cx="111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n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85776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B18BBAFA-5112-4C5C-828D-CB3847D738D9}"/>
              </a:ext>
            </a:extLst>
          </p:cNvPr>
          <p:cNvSpPr/>
          <p:nvPr/>
        </p:nvSpPr>
        <p:spPr>
          <a:xfrm>
            <a:off x="2855640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Lef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C4B90AA5-7239-4814-AA61-355ED811CC99}"/>
              </a:ext>
            </a:extLst>
          </p:cNvPr>
          <p:cNvSpPr/>
          <p:nvPr/>
        </p:nvSpPr>
        <p:spPr>
          <a:xfrm>
            <a:off x="5501936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275D8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B0C9840C-6F86-476B-8FF8-AC33A0CDE184}"/>
              </a:ext>
            </a:extLst>
          </p:cNvPr>
          <p:cNvSpPr/>
          <p:nvPr/>
        </p:nvSpPr>
        <p:spPr>
          <a:xfrm rot="10800000">
            <a:off x="6105002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275D8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91FB2B2-04BC-4FBE-9675-CEBF24C4795B}"/>
              </a:ext>
            </a:extLst>
          </p:cNvPr>
          <p:cNvSpPr txBox="1"/>
          <p:nvPr/>
        </p:nvSpPr>
        <p:spPr>
          <a:xfrm>
            <a:off x="5564608" y="-639452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Right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88836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组合 1">
            <a:extLst>
              <a:ext uri="{FF2B5EF4-FFF2-40B4-BE49-F238E27FC236}">
                <a16:creationId xmlns:a16="http://schemas.microsoft.com/office/drawing/2014/main" id="{4F0C321A-8032-4AFF-A815-6AFBB8275DEB}"/>
              </a:ext>
            </a:extLst>
          </p:cNvPr>
          <p:cNvGrpSpPr/>
          <p:nvPr/>
        </p:nvGrpSpPr>
        <p:grpSpPr>
          <a:xfrm rot="10800000">
            <a:off x="2837636" y="1520788"/>
            <a:ext cx="6498724" cy="3852428"/>
            <a:chOff x="2837636" y="1502786"/>
            <a:chExt cx="6498724" cy="3852428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18BBAFA-5112-4C5C-828D-CB3847D738D9}"/>
                </a:ext>
              </a:extLst>
            </p:cNvPr>
            <p:cNvSpPr/>
            <p:nvPr/>
          </p:nvSpPr>
          <p:spPr>
            <a:xfrm>
              <a:off x="2837636" y="1502786"/>
              <a:ext cx="3249362" cy="3852428"/>
            </a:xfrm>
            <a:custGeom>
              <a:avLst/>
              <a:gdLst>
                <a:gd name="connsiteX0" fmla="*/ 1926214 w 3249362"/>
                <a:gd name="connsiteY0" fmla="*/ 0 h 3852428"/>
                <a:gd name="connsiteX1" fmla="*/ 3151465 w 3249362"/>
                <a:gd name="connsiteY1" fmla="*/ 439854 h 3852428"/>
                <a:gd name="connsiteX2" fmla="*/ 3249362 w 3249362"/>
                <a:gd name="connsiteY2" fmla="*/ 528828 h 3852428"/>
                <a:gd name="connsiteX3" fmla="*/ 3210471 w 3249362"/>
                <a:gd name="connsiteY3" fmla="*/ 564175 h 3852428"/>
                <a:gd name="connsiteX4" fmla="*/ 2646296 w 3249362"/>
                <a:gd name="connsiteY4" fmla="*/ 1926214 h 3852428"/>
                <a:gd name="connsiteX5" fmla="*/ 3210471 w 3249362"/>
                <a:gd name="connsiteY5" fmla="*/ 3288253 h 3852428"/>
                <a:gd name="connsiteX6" fmla="*/ 3249362 w 3249362"/>
                <a:gd name="connsiteY6" fmla="*/ 3323600 h 3852428"/>
                <a:gd name="connsiteX7" fmla="*/ 3151465 w 3249362"/>
                <a:gd name="connsiteY7" fmla="*/ 3412575 h 3852428"/>
                <a:gd name="connsiteX8" fmla="*/ 1926214 w 3249362"/>
                <a:gd name="connsiteY8" fmla="*/ 3852428 h 3852428"/>
                <a:gd name="connsiteX9" fmla="*/ 0 w 3249362"/>
                <a:gd name="connsiteY9" fmla="*/ 1926214 h 3852428"/>
                <a:gd name="connsiteX10" fmla="*/ 1926214 w 3249362"/>
                <a:gd name="connsiteY10" fmla="*/ 0 h 38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49362" h="3852428">
                  <a:moveTo>
                    <a:pt x="1926214" y="0"/>
                  </a:moveTo>
                  <a:cubicBezTo>
                    <a:pt x="2391635" y="0"/>
                    <a:pt x="2818502" y="165068"/>
                    <a:pt x="3151465" y="439854"/>
                  </a:cubicBezTo>
                  <a:lnTo>
                    <a:pt x="3249362" y="528828"/>
                  </a:lnTo>
                  <a:lnTo>
                    <a:pt x="3210471" y="564175"/>
                  </a:lnTo>
                  <a:cubicBezTo>
                    <a:pt x="2861895" y="912751"/>
                    <a:pt x="2646296" y="1394305"/>
                    <a:pt x="2646296" y="1926214"/>
                  </a:cubicBezTo>
                  <a:cubicBezTo>
                    <a:pt x="2646296" y="2458124"/>
                    <a:pt x="2861895" y="2939677"/>
                    <a:pt x="3210471" y="3288253"/>
                  </a:cubicBezTo>
                  <a:lnTo>
                    <a:pt x="3249362" y="3323600"/>
                  </a:lnTo>
                  <a:lnTo>
                    <a:pt x="3151465" y="3412575"/>
                  </a:lnTo>
                  <a:cubicBezTo>
                    <a:pt x="2818502" y="3687360"/>
                    <a:pt x="2391635" y="3852428"/>
                    <a:pt x="1926214" y="3852428"/>
                  </a:cubicBezTo>
                  <a:cubicBezTo>
                    <a:pt x="862395" y="3852428"/>
                    <a:pt x="0" y="2990033"/>
                    <a:pt x="0" y="1926214"/>
                  </a:cubicBezTo>
                  <a:cubicBezTo>
                    <a:pt x="0" y="862395"/>
                    <a:pt x="862395" y="0"/>
                    <a:pt x="1926214" y="0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en-US" altLang="zh-CN" sz="3600" dirty="0"/>
                <a:t>Left</a:t>
              </a:r>
            </a:p>
            <a:p>
              <a:pPr algn="ctr"/>
              <a:r>
                <a:rPr lang="en-US" altLang="zh-CN" sz="3600" dirty="0"/>
                <a:t>Table</a:t>
              </a:r>
              <a:endParaRPr lang="zh-CN" altLang="en-US" sz="3600" dirty="0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4B90AA5-7239-4814-AA61-355ED811CC99}"/>
                </a:ext>
              </a:extLst>
            </p:cNvPr>
            <p:cNvSpPr/>
            <p:nvPr/>
          </p:nvSpPr>
          <p:spPr>
            <a:xfrm>
              <a:off x="5483932" y="2031614"/>
              <a:ext cx="1206132" cy="2794772"/>
            </a:xfrm>
            <a:custGeom>
              <a:avLst/>
              <a:gdLst>
                <a:gd name="connsiteX0" fmla="*/ 603066 w 1206132"/>
                <a:gd name="connsiteY0" fmla="*/ 0 h 2794772"/>
                <a:gd name="connsiteX1" fmla="*/ 641957 w 1206132"/>
                <a:gd name="connsiteY1" fmla="*/ 35347 h 2794772"/>
                <a:gd name="connsiteX2" fmla="*/ 1206132 w 1206132"/>
                <a:gd name="connsiteY2" fmla="*/ 1397386 h 2794772"/>
                <a:gd name="connsiteX3" fmla="*/ 641957 w 1206132"/>
                <a:gd name="connsiteY3" fmla="*/ 2759425 h 2794772"/>
                <a:gd name="connsiteX4" fmla="*/ 603066 w 1206132"/>
                <a:gd name="connsiteY4" fmla="*/ 2794772 h 2794772"/>
                <a:gd name="connsiteX5" fmla="*/ 564175 w 1206132"/>
                <a:gd name="connsiteY5" fmla="*/ 2759425 h 2794772"/>
                <a:gd name="connsiteX6" fmla="*/ 0 w 1206132"/>
                <a:gd name="connsiteY6" fmla="*/ 1397386 h 2794772"/>
                <a:gd name="connsiteX7" fmla="*/ 564175 w 1206132"/>
                <a:gd name="connsiteY7" fmla="*/ 35347 h 27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6132" h="2794772">
                  <a:moveTo>
                    <a:pt x="603066" y="0"/>
                  </a:moveTo>
                  <a:lnTo>
                    <a:pt x="641957" y="35347"/>
                  </a:lnTo>
                  <a:cubicBezTo>
                    <a:pt x="990533" y="383923"/>
                    <a:pt x="1206132" y="865477"/>
                    <a:pt x="1206132" y="1397386"/>
                  </a:cubicBezTo>
                  <a:cubicBezTo>
                    <a:pt x="1206132" y="1929296"/>
                    <a:pt x="990533" y="2410849"/>
                    <a:pt x="641957" y="2759425"/>
                  </a:cubicBezTo>
                  <a:lnTo>
                    <a:pt x="603066" y="2794772"/>
                  </a:lnTo>
                  <a:lnTo>
                    <a:pt x="564175" y="2759425"/>
                  </a:lnTo>
                  <a:cubicBezTo>
                    <a:pt x="215599" y="2410849"/>
                    <a:pt x="0" y="1929296"/>
                    <a:pt x="0" y="1397386"/>
                  </a:cubicBezTo>
                  <a:cubicBezTo>
                    <a:pt x="0" y="865477"/>
                    <a:pt x="215599" y="383923"/>
                    <a:pt x="564175" y="35347"/>
                  </a:cubicBezTo>
                  <a:close/>
                </a:path>
              </a:pathLst>
            </a:custGeom>
            <a:solidFill>
              <a:srgbClr val="0275D8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0C9840C-6F86-476B-8FF8-AC33A0CDE184}"/>
                </a:ext>
              </a:extLst>
            </p:cNvPr>
            <p:cNvSpPr/>
            <p:nvPr/>
          </p:nvSpPr>
          <p:spPr>
            <a:xfrm rot="10800000">
              <a:off x="6086998" y="1502786"/>
              <a:ext cx="3249362" cy="3852428"/>
            </a:xfrm>
            <a:custGeom>
              <a:avLst/>
              <a:gdLst>
                <a:gd name="connsiteX0" fmla="*/ 1926214 w 3249362"/>
                <a:gd name="connsiteY0" fmla="*/ 0 h 3852428"/>
                <a:gd name="connsiteX1" fmla="*/ 3151465 w 3249362"/>
                <a:gd name="connsiteY1" fmla="*/ 439854 h 3852428"/>
                <a:gd name="connsiteX2" fmla="*/ 3249362 w 3249362"/>
                <a:gd name="connsiteY2" fmla="*/ 528828 h 3852428"/>
                <a:gd name="connsiteX3" fmla="*/ 3210471 w 3249362"/>
                <a:gd name="connsiteY3" fmla="*/ 564175 h 3852428"/>
                <a:gd name="connsiteX4" fmla="*/ 2646296 w 3249362"/>
                <a:gd name="connsiteY4" fmla="*/ 1926214 h 3852428"/>
                <a:gd name="connsiteX5" fmla="*/ 3210471 w 3249362"/>
                <a:gd name="connsiteY5" fmla="*/ 3288253 h 3852428"/>
                <a:gd name="connsiteX6" fmla="*/ 3249362 w 3249362"/>
                <a:gd name="connsiteY6" fmla="*/ 3323600 h 3852428"/>
                <a:gd name="connsiteX7" fmla="*/ 3151465 w 3249362"/>
                <a:gd name="connsiteY7" fmla="*/ 3412575 h 3852428"/>
                <a:gd name="connsiteX8" fmla="*/ 1926214 w 3249362"/>
                <a:gd name="connsiteY8" fmla="*/ 3852428 h 3852428"/>
                <a:gd name="connsiteX9" fmla="*/ 0 w 3249362"/>
                <a:gd name="connsiteY9" fmla="*/ 1926214 h 3852428"/>
                <a:gd name="connsiteX10" fmla="*/ 1926214 w 3249362"/>
                <a:gd name="connsiteY10" fmla="*/ 0 h 38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49362" h="3852428">
                  <a:moveTo>
                    <a:pt x="1926214" y="0"/>
                  </a:moveTo>
                  <a:cubicBezTo>
                    <a:pt x="2391635" y="0"/>
                    <a:pt x="2818502" y="165068"/>
                    <a:pt x="3151465" y="439854"/>
                  </a:cubicBezTo>
                  <a:lnTo>
                    <a:pt x="3249362" y="528828"/>
                  </a:lnTo>
                  <a:lnTo>
                    <a:pt x="3210471" y="564175"/>
                  </a:lnTo>
                  <a:cubicBezTo>
                    <a:pt x="2861895" y="912751"/>
                    <a:pt x="2646296" y="1394305"/>
                    <a:pt x="2646296" y="1926214"/>
                  </a:cubicBezTo>
                  <a:cubicBezTo>
                    <a:pt x="2646296" y="2458124"/>
                    <a:pt x="2861895" y="2939677"/>
                    <a:pt x="3210471" y="3288253"/>
                  </a:cubicBezTo>
                  <a:lnTo>
                    <a:pt x="3249362" y="3323600"/>
                  </a:lnTo>
                  <a:lnTo>
                    <a:pt x="3151465" y="3412575"/>
                  </a:lnTo>
                  <a:cubicBezTo>
                    <a:pt x="2818502" y="3687360"/>
                    <a:pt x="2391635" y="3852428"/>
                    <a:pt x="1926214" y="3852428"/>
                  </a:cubicBezTo>
                  <a:cubicBezTo>
                    <a:pt x="862395" y="3852428"/>
                    <a:pt x="0" y="2990033"/>
                    <a:pt x="0" y="1926214"/>
                  </a:cubicBezTo>
                  <a:cubicBezTo>
                    <a:pt x="0" y="862395"/>
                    <a:pt x="862395" y="0"/>
                    <a:pt x="1926214" y="0"/>
                  </a:cubicBezTo>
                  <a:close/>
                </a:path>
              </a:pathLst>
            </a:custGeom>
            <a:solidFill>
              <a:srgbClr val="0275D8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43413799-6B49-4899-A1E3-21FD3DF5323F}"/>
              </a:ext>
            </a:extLst>
          </p:cNvPr>
          <p:cNvSpPr txBox="1"/>
          <p:nvPr/>
        </p:nvSpPr>
        <p:spPr>
          <a:xfrm>
            <a:off x="5686263" y="-495436"/>
            <a:ext cx="100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Left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9301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26</Words>
  <Application>Microsoft Office PowerPoint</Application>
  <PresentationFormat>宽屏</PresentationFormat>
  <Paragraphs>21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3" baseType="lpstr">
      <vt:lpstr>等线</vt:lpstr>
      <vt:lpstr>等线 Light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izhe HUANG 黄思哲</dc:creator>
  <cp:lastModifiedBy>Sizhe HUANG 黄思哲</cp:lastModifiedBy>
  <cp:revision>1</cp:revision>
  <dcterms:created xsi:type="dcterms:W3CDTF">2023-02-23T08:48:15Z</dcterms:created>
  <dcterms:modified xsi:type="dcterms:W3CDTF">2023-03-11T07:33:09Z</dcterms:modified>
</cp:coreProperties>
</file>